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4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37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60018"/>
    <a:srgbClr val="767676"/>
    <a:srgbClr val="0079C7"/>
    <a:srgbClr val="E5E5E5"/>
    <a:srgbClr val="8D8D8D"/>
    <a:srgbClr val="A8A8A8"/>
    <a:srgbClr val="5A5A5A"/>
    <a:srgbClr val="444444"/>
    <a:srgbClr val="2D327D"/>
    <a:srgbClr val="B7B7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37"/>
        <p:guide pos="1844"/>
        <p:guide orient="horz" pos="377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59A3AA6B-0319-463A-8782-A83ADFFB7DF3}"/>
    <pc:docChg chg="modSld">
      <pc:chgData name="Weigel Stefan (PAR-EPS)" userId="fd3b2067-2981-4ad8-bf3a-d2e1004e4fa8" providerId="ADAL" clId="{59A3AA6B-0319-463A-8782-A83ADFFB7DF3}" dt="2024-02-28T07:34:31.251" v="56" actId="27918"/>
      <pc:docMkLst>
        <pc:docMk/>
      </pc:docMkLst>
      <pc:sldChg chg="modSp mod">
        <pc:chgData name="Weigel Stefan (PAR-EPS)" userId="fd3b2067-2981-4ad8-bf3a-d2e1004e4fa8" providerId="ADAL" clId="{59A3AA6B-0319-463A-8782-A83ADFFB7DF3}" dt="2024-02-28T07:34:31.251" v="56" actId="27918"/>
        <pc:sldMkLst>
          <pc:docMk/>
          <pc:sldMk cId="3332483854" sldId="274"/>
        </pc:sldMkLst>
        <pc:spChg chg="mod">
          <ac:chgData name="Weigel Stefan (PAR-EPS)" userId="fd3b2067-2981-4ad8-bf3a-d2e1004e4fa8" providerId="ADAL" clId="{59A3AA6B-0319-463A-8782-A83ADFFB7DF3}" dt="2024-02-28T07:34:22.255" v="52" actId="20577"/>
          <ac:spMkLst>
            <pc:docMk/>
            <pc:sldMk cId="3332483854" sldId="274"/>
            <ac:spMk id="10" creationId="{41B9B9AB-4B12-4760-AF37-4FABDDFAE68B}"/>
          </ac:spMkLst>
        </pc:spChg>
        <pc:graphicFrameChg chg="mod">
          <ac:chgData name="Weigel Stefan (PAR-EPS)" userId="fd3b2067-2981-4ad8-bf3a-d2e1004e4fa8" providerId="ADAL" clId="{59A3AA6B-0319-463A-8782-A83ADFFB7DF3}" dt="2024-02-28T07:22:26.871" v="44" actId="207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</pc:docChg>
  </pc:docChgLst>
  <pc:docChgLst>
    <pc:chgData name="Meyer Raphael (PAR-ES)" userId="79615dfe-ed48-4e74-a40f-4f7b034c1c27" providerId="ADAL" clId="{BACCF7EA-6D1A-4DFA-98C0-DCCDA60D5535}"/>
    <pc:docChg chg="delSld">
      <pc:chgData name="Meyer Raphael (PAR-ES)" userId="79615dfe-ed48-4e74-a40f-4f7b034c1c27" providerId="ADAL" clId="{BACCF7EA-6D1A-4DFA-98C0-DCCDA60D5535}" dt="2022-02-21T09:43:26.757" v="0" actId="47"/>
      <pc:docMkLst>
        <pc:docMk/>
      </pc:docMkLst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1532680153" sldId="278"/>
        </pc:sldMkLst>
      </pc:sldChg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1317092251" sldId="279"/>
        </pc:sldMkLst>
      </pc:sldChg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900719995" sldId="280"/>
        </pc:sldMkLst>
      </pc:sldChg>
    </pc:docChg>
  </pc:docChgLst>
  <pc:docChgLst>
    <pc:chgData name="Meyer Raphael (PAR-ES)" userId="79615dfe-ed48-4e74-a40f-4f7b034c1c27" providerId="ADAL" clId="{AC29F3FC-CCDB-460B-86CA-8C9818AB5ACD}"/>
    <pc:docChg chg="delSld modSld">
      <pc:chgData name="Meyer Raphael (PAR-ES)" userId="79615dfe-ed48-4e74-a40f-4f7b034c1c27" providerId="ADAL" clId="{AC29F3FC-CCDB-460B-86CA-8C9818AB5ACD}" dt="2021-11-18T09:46:43.261" v="10"/>
      <pc:docMkLst>
        <pc:docMk/>
      </pc:docMkLst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AC29F3FC-CCDB-460B-86CA-8C9818AB5ACD}" dt="2021-11-18T09:45:11.840" v="0" actId="47"/>
        <pc:sldMkLst>
          <pc:docMk/>
          <pc:sldMk cId="2641487227" sldId="271"/>
        </pc:sldMkLst>
      </pc:sldChg>
      <pc:sldChg chg="modSp">
        <pc:chgData name="Meyer Raphael (PAR-ES)" userId="79615dfe-ed48-4e74-a40f-4f7b034c1c27" providerId="ADAL" clId="{AC29F3FC-CCDB-460B-86CA-8C9818AB5ACD}" dt="2021-11-18T09:46:43.261" v="10"/>
        <pc:sldMkLst>
          <pc:docMk/>
          <pc:sldMk cId="3332483854" sldId="274"/>
        </pc:sldMkLst>
        <pc:graphicFrameChg chg="mod">
          <ac:chgData name="Meyer Raphael (PAR-ES)" userId="79615dfe-ed48-4e74-a40f-4f7b034c1c27" providerId="ADAL" clId="{AC29F3FC-CCDB-460B-86CA-8C9818AB5ACD}" dt="2021-11-18T09:46:43.261" v="10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184604335" sldId="278"/>
        </pc:sldMkLst>
      </pc:sldChg>
    </pc:docChg>
  </pc:docChgLst>
  <pc:docChgLst>
    <pc:chgData name="Meyer Raphael (PAR-ES)" userId="79615dfe-ed48-4e74-a40f-4f7b034c1c27" providerId="ADAL" clId="{5FAB783E-7480-47CB-B877-7B5DFEF79DF0}"/>
    <pc:docChg chg="modSld">
      <pc:chgData name="Meyer Raphael (PAR-ES)" userId="79615dfe-ed48-4e74-a40f-4f7b034c1c27" providerId="ADAL" clId="{5FAB783E-7480-47CB-B877-7B5DFEF79DF0}" dt="2023-02-22T09:44:29.321" v="15" actId="27918"/>
      <pc:docMkLst>
        <pc:docMk/>
      </pc:docMkLst>
      <pc:sldChg chg="mod">
        <pc:chgData name="Meyer Raphael (PAR-ES)" userId="79615dfe-ed48-4e74-a40f-4f7b034c1c27" providerId="ADAL" clId="{5FAB783E-7480-47CB-B877-7B5DFEF79DF0}" dt="2023-02-22T09:44:29.321" v="15" actId="27918"/>
        <pc:sldMkLst>
          <pc:docMk/>
          <pc:sldMk cId="3332483854" sldId="274"/>
        </pc:sldMkLst>
      </pc:sldChg>
    </pc:docChg>
  </pc:docChgLst>
  <pc:docChgLst>
    <pc:chgData name="Meyer Raphael (PAR-ES)" userId="79615dfe-ed48-4e74-a40f-4f7b034c1c27" providerId="ADAL" clId="{1FC5616B-2F12-4446-BDCA-AA1385573C6A}"/>
    <pc:docChg chg="undo custSel addSld delSld modSld">
      <pc:chgData name="Meyer Raphael (PAR-ES)" userId="79615dfe-ed48-4e74-a40f-4f7b034c1c27" providerId="ADAL" clId="{1FC5616B-2F12-4446-BDCA-AA1385573C6A}" dt="2022-02-21T09:32:57.878" v="166" actId="47"/>
      <pc:docMkLst>
        <pc:docMk/>
      </pc:docMkLst>
      <pc:sldChg chg="delSp mod">
        <pc:chgData name="Meyer Raphael (PAR-ES)" userId="79615dfe-ed48-4e74-a40f-4f7b034c1c27" providerId="ADAL" clId="{1FC5616B-2F12-4446-BDCA-AA1385573C6A}" dt="2022-02-21T09:15:50.176" v="94" actId="478"/>
        <pc:sldMkLst>
          <pc:docMk/>
          <pc:sldMk cId="3332483854" sldId="274"/>
        </pc:sldMkLst>
        <pc:spChg chg="del">
          <ac:chgData name="Meyer Raphael (PAR-ES)" userId="79615dfe-ed48-4e74-a40f-4f7b034c1c27" providerId="ADAL" clId="{1FC5616B-2F12-4446-BDCA-AA1385573C6A}" dt="2022-02-21T09:15:50.176" v="94" actId="478"/>
          <ac:spMkLst>
            <pc:docMk/>
            <pc:sldMk cId="3332483854" sldId="274"/>
            <ac:spMk id="11" creationId="{05BCB7A5-C388-4E07-9136-6233CDBC3CCF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19:53.101" v="102" actId="47"/>
        <pc:sldMkLst>
          <pc:docMk/>
          <pc:sldMk cId="3581959627" sldId="275"/>
        </pc:sldMkLst>
        <pc:spChg chg="mod">
          <ac:chgData name="Meyer Raphael (PAR-ES)" userId="79615dfe-ed48-4e74-a40f-4f7b034c1c27" providerId="ADAL" clId="{1FC5616B-2F12-4446-BDCA-AA1385573C6A}" dt="2022-02-21T08:54:26.924" v="3"/>
          <ac:spMkLst>
            <pc:docMk/>
            <pc:sldMk cId="3581959627" sldId="27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8:54:40.784" v="4"/>
          <ac:spMkLst>
            <pc:docMk/>
            <pc:sldMk cId="3581959627" sldId="275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8:55:01.272" v="6" actId="14100"/>
          <ac:spMkLst>
            <pc:docMk/>
            <pc:sldMk cId="3581959627" sldId="275"/>
            <ac:spMk id="10" creationId="{41B9B9AB-4B12-4760-AF37-4FABDDFAE68B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31:50.541" v="137" actId="47"/>
        <pc:sldMkLst>
          <pc:docMk/>
          <pc:sldMk cId="2160443220" sldId="276"/>
        </pc:sldMkLst>
        <pc:spChg chg="mod">
          <ac:chgData name="Meyer Raphael (PAR-ES)" userId="79615dfe-ed48-4e74-a40f-4f7b034c1c27" providerId="ADAL" clId="{1FC5616B-2F12-4446-BDCA-AA1385573C6A}" dt="2022-02-21T09:06:34.339" v="7"/>
          <ac:spMkLst>
            <pc:docMk/>
            <pc:sldMk cId="2160443220" sldId="27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08:01.593" v="36" actId="20577"/>
          <ac:spMkLst>
            <pc:docMk/>
            <pc:sldMk cId="2160443220" sldId="276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06:45.304" v="8"/>
          <ac:spMkLst>
            <pc:docMk/>
            <pc:sldMk cId="2160443220" sldId="276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07:36.657" v="30" actId="1035"/>
          <ac:spMkLst>
            <pc:docMk/>
            <pc:sldMk cId="2160443220" sldId="276"/>
            <ac:spMk id="10" creationId="{41B9B9AB-4B12-4760-AF37-4FABDDFAE68B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32:57.878" v="166" actId="47"/>
        <pc:sldMkLst>
          <pc:docMk/>
          <pc:sldMk cId="3000923061" sldId="277"/>
        </pc:sldMkLst>
        <pc:spChg chg="mod">
          <ac:chgData name="Meyer Raphael (PAR-ES)" userId="79615dfe-ed48-4e74-a40f-4f7b034c1c27" providerId="ADAL" clId="{1FC5616B-2F12-4446-BDCA-AA1385573C6A}" dt="2022-02-21T09:08:34.234" v="44" actId="6549"/>
          <ac:spMkLst>
            <pc:docMk/>
            <pc:sldMk cId="3000923061" sldId="27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08:08.955" v="42" actId="20577"/>
          <ac:spMkLst>
            <pc:docMk/>
            <pc:sldMk cId="3000923061" sldId="277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08:44.214" v="45"/>
          <ac:spMkLst>
            <pc:docMk/>
            <pc:sldMk cId="3000923061" sldId="277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09:04.698" v="76" actId="1035"/>
          <ac:spMkLst>
            <pc:docMk/>
            <pc:sldMk cId="3000923061" sldId="277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19:44.729" v="101" actId="14100"/>
        <pc:sldMkLst>
          <pc:docMk/>
          <pc:sldMk cId="1532680153" sldId="278"/>
        </pc:sldMkLst>
        <pc:spChg chg="mod">
          <ac:chgData name="Meyer Raphael (PAR-ES)" userId="79615dfe-ed48-4e74-a40f-4f7b034c1c27" providerId="ADAL" clId="{1FC5616B-2F12-4446-BDCA-AA1385573C6A}" dt="2022-02-21T09:19:15.933" v="98"/>
          <ac:spMkLst>
            <pc:docMk/>
            <pc:sldMk cId="1532680153" sldId="27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19:27.117" v="99"/>
          <ac:spMkLst>
            <pc:docMk/>
            <pc:sldMk cId="1532680153" sldId="278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19:44.729" v="101" actId="14100"/>
          <ac:spMkLst>
            <pc:docMk/>
            <pc:sldMk cId="1532680153" sldId="278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31:45.765" v="136" actId="20577"/>
        <pc:sldMkLst>
          <pc:docMk/>
          <pc:sldMk cId="1317092251" sldId="279"/>
        </pc:sldMkLst>
        <pc:spChg chg="mod">
          <ac:chgData name="Meyer Raphael (PAR-ES)" userId="79615dfe-ed48-4e74-a40f-4f7b034c1c27" providerId="ADAL" clId="{1FC5616B-2F12-4446-BDCA-AA1385573C6A}" dt="2022-02-21T09:20:02.764" v="103"/>
          <ac:spMkLst>
            <pc:docMk/>
            <pc:sldMk cId="1317092251" sldId="27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31:45.765" v="136" actId="20577"/>
          <ac:spMkLst>
            <pc:docMk/>
            <pc:sldMk cId="1317092251" sldId="279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20:11.849" v="104"/>
          <ac:spMkLst>
            <pc:docMk/>
            <pc:sldMk cId="1317092251" sldId="279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31:30.749" v="130" actId="1036"/>
          <ac:spMkLst>
            <pc:docMk/>
            <pc:sldMk cId="1317092251" sldId="279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32:45.114" v="165" actId="20577"/>
        <pc:sldMkLst>
          <pc:docMk/>
          <pc:sldMk cId="900719995" sldId="280"/>
        </pc:sldMkLst>
        <pc:spChg chg="mod">
          <ac:chgData name="Meyer Raphael (PAR-ES)" userId="79615dfe-ed48-4e74-a40f-4f7b034c1c27" providerId="ADAL" clId="{1FC5616B-2F12-4446-BDCA-AA1385573C6A}" dt="2022-02-21T09:32:09.387" v="138"/>
          <ac:spMkLst>
            <pc:docMk/>
            <pc:sldMk cId="900719995" sldId="28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32:45.114" v="165" actId="20577"/>
          <ac:spMkLst>
            <pc:docMk/>
            <pc:sldMk cId="900719995" sldId="28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32:19.890" v="139"/>
          <ac:spMkLst>
            <pc:docMk/>
            <pc:sldMk cId="900719995" sldId="280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32:35.398" v="159" actId="1035"/>
          <ac:spMkLst>
            <pc:docMk/>
            <pc:sldMk cId="900719995" sldId="28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96870986904114"/>
          <c:y val="6.9870012075128385E-2"/>
          <c:w val="0.78751411245845049"/>
          <c:h val="0.79446254583648468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C60018"/>
            </a:solidFill>
          </c:spPr>
          <c:invertIfNegative val="0"/>
          <c:cat>
            <c:strRef>
              <c:f>data!$G$3:$G$14</c:f>
              <c:strCache>
                <c:ptCount val="12"/>
                <c:pt idx="0">
                  <c:v>Biel/Bienne</c:v>
                </c:pt>
                <c:pt idx="1">
                  <c:v>Aarau</c:v>
                </c:pt>
                <c:pt idx="2">
                  <c:v>St. Gallen</c:v>
                </c:pt>
                <c:pt idx="3">
                  <c:v>Zürich Stadelhofen</c:v>
                </c:pt>
                <c:pt idx="4">
                  <c:v>Zürich Oerlikon</c:v>
                </c:pt>
                <c:pt idx="5">
                  <c:v>Lausanne</c:v>
                </c:pt>
                <c:pt idx="6">
                  <c:v>Winterthur</c:v>
                </c:pt>
                <c:pt idx="7">
                  <c:v>Basel SBB</c:v>
                </c:pt>
                <c:pt idx="8">
                  <c:v>Luzern</c:v>
                </c:pt>
                <c:pt idx="9">
                  <c:v>Genève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I$3:$I$14</c:f>
              <c:numCache>
                <c:formatCode>#,##0</c:formatCode>
                <c:ptCount val="12"/>
                <c:pt idx="0">
                  <c:v>64000</c:v>
                </c:pt>
                <c:pt idx="1">
                  <c:v>76000</c:v>
                </c:pt>
                <c:pt idx="2">
                  <c:v>78000</c:v>
                </c:pt>
                <c:pt idx="3">
                  <c:v>87000</c:v>
                </c:pt>
                <c:pt idx="4">
                  <c:v>114000</c:v>
                </c:pt>
                <c:pt idx="5">
                  <c:v>126000</c:v>
                </c:pt>
                <c:pt idx="6">
                  <c:v>131000</c:v>
                </c:pt>
                <c:pt idx="7">
                  <c:v>140000</c:v>
                </c:pt>
                <c:pt idx="8">
                  <c:v>144000</c:v>
                </c:pt>
                <c:pt idx="9">
                  <c:v>171000</c:v>
                </c:pt>
                <c:pt idx="10">
                  <c:v>297000</c:v>
                </c:pt>
                <c:pt idx="11">
                  <c:v>399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5A-4BFC-B039-8395A69970BE}"/>
            </c:ext>
          </c:extLst>
        </c:ser>
        <c:ser>
          <c:idx val="0"/>
          <c:order val="1"/>
          <c:tx>
            <c:strRef>
              <c:f>data!$H$2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05A-4BFC-B039-8395A69970BE}"/>
              </c:ext>
            </c:extLst>
          </c:dPt>
          <c:cat>
            <c:strRef>
              <c:f>data!$G$3:$G$14</c:f>
              <c:strCache>
                <c:ptCount val="12"/>
                <c:pt idx="0">
                  <c:v>Biel/Bienne</c:v>
                </c:pt>
                <c:pt idx="1">
                  <c:v>Aarau</c:v>
                </c:pt>
                <c:pt idx="2">
                  <c:v>St. Gallen</c:v>
                </c:pt>
                <c:pt idx="3">
                  <c:v>Zürich Stadelhofen</c:v>
                </c:pt>
                <c:pt idx="4">
                  <c:v>Zürich Oerlikon</c:v>
                </c:pt>
                <c:pt idx="5">
                  <c:v>Lausanne</c:v>
                </c:pt>
                <c:pt idx="6">
                  <c:v>Winterthur</c:v>
                </c:pt>
                <c:pt idx="7">
                  <c:v>Basel SBB</c:v>
                </c:pt>
                <c:pt idx="8">
                  <c:v>Luzern</c:v>
                </c:pt>
                <c:pt idx="9">
                  <c:v>Genève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H$3:$H$14</c:f>
              <c:numCache>
                <c:formatCode>#,##0</c:formatCode>
                <c:ptCount val="12"/>
                <c:pt idx="0">
                  <c:v>69000</c:v>
                </c:pt>
                <c:pt idx="1">
                  <c:v>76000</c:v>
                </c:pt>
                <c:pt idx="2">
                  <c:v>82000</c:v>
                </c:pt>
                <c:pt idx="3">
                  <c:v>100000</c:v>
                </c:pt>
                <c:pt idx="4">
                  <c:v>117000</c:v>
                </c:pt>
                <c:pt idx="5">
                  <c:v>152000</c:v>
                </c:pt>
                <c:pt idx="6">
                  <c:v>128000</c:v>
                </c:pt>
                <c:pt idx="7">
                  <c:v>136000</c:v>
                </c:pt>
                <c:pt idx="8">
                  <c:v>167000</c:v>
                </c:pt>
                <c:pt idx="9">
                  <c:v>177000</c:v>
                </c:pt>
                <c:pt idx="10">
                  <c:v>330000</c:v>
                </c:pt>
                <c:pt idx="11">
                  <c:v>461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05A-4BFC-B039-8395A69970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5650304"/>
        <c:axId val="135648768"/>
      </c:barChart>
      <c:valAx>
        <c:axId val="135648768"/>
        <c:scaling>
          <c:orientation val="minMax"/>
        </c:scaling>
        <c:delete val="0"/>
        <c:axPos val="b"/>
        <c:majorGridlines>
          <c:spPr>
            <a:ln w="6350">
              <a:solidFill>
                <a:srgbClr val="D9D9D9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35650304"/>
        <c:crosses val="autoZero"/>
        <c:crossBetween val="between"/>
        <c:majorUnit val="100000"/>
      </c:valAx>
      <c:catAx>
        <c:axId val="135650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35648768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88340535936661169"/>
          <c:y val="0"/>
          <c:w val="8.7573685649527888E-2"/>
          <c:h val="7.6557908728647581E-2"/>
        </c:manualLayout>
      </c:layout>
      <c:overlay val="0"/>
      <c:txPr>
        <a:bodyPr/>
        <a:lstStyle/>
        <a:p>
          <a:pPr>
            <a:defRPr sz="10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074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de-CH" dirty="0"/>
              <a:t>Bahnhofbenutzer.</a:t>
            </a:r>
            <a:br>
              <a:rPr lang="de-CH" dirty="0"/>
            </a:br>
            <a:endParaRPr lang="de-CH" sz="14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endParaRPr lang="de-CH" sz="1400" spc="30" dirty="0">
              <a:solidFill>
                <a:schemeClr val="accent3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>
            <a:off x="1489869" y="6095020"/>
            <a:ext cx="6093843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de-CH" sz="1000" kern="0" dirty="0">
                <a:solidFill>
                  <a:srgbClr val="444444"/>
                </a:solidFill>
              </a:rPr>
              <a:t>Bahnhofbenutzer: Passagiere der Bahn und des ÖV, Kunden der Geschäfte im Bahnhof, Passanten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algn="r"/>
            <a:r>
              <a:rPr lang="de-CH" sz="100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7EC5479B-4A19-4827-9748-442A5719A3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3624244"/>
              </p:ext>
            </p:extLst>
          </p:nvPr>
        </p:nvGraphicFramePr>
        <p:xfrm>
          <a:off x="1300163" y="1572902"/>
          <a:ext cx="9527805" cy="4304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EDD67ED6-309E-4568-8371-347A20E330D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CH" sz="1400" spc="30" dirty="0">
                <a:solidFill>
                  <a:schemeClr val="accent3"/>
                </a:solidFill>
              </a:rPr>
              <a:t>Durchschnittliche Anzahl Personenbewegungen pro Arbeitstag</a:t>
            </a:r>
          </a:p>
        </p:txBody>
      </p:sp>
    </p:spTree>
    <p:extLst>
      <p:ext uri="{BB962C8B-B14F-4D97-AF65-F5344CB8AC3E}">
        <p14:creationId xmlns:p14="http://schemas.microsoft.com/office/powerpoint/2010/main" val="3332483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/>
        <AccountId xsi:nil="true"/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F807D86-70C3-4BA1-A806-0D74E76C91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96e82a89-ba48-4728-b345-cf206dbec8f1"/>
    <ds:schemaRef ds:uri="http://purl.org/dc/terms/"/>
    <ds:schemaRef ds:uri="http://schemas.openxmlformats.org/package/2006/metadata/core-properties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Bahnhofbenutzer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hnhofbenutzer._x000b_</dc:title>
  <dc:creator>Meyer Raphael (KOM-PGA-VSF)</dc:creator>
  <cp:lastModifiedBy>Stefan Weigel (PAR-EPS)</cp:lastModifiedBy>
  <cp:revision>37</cp:revision>
  <dcterms:created xsi:type="dcterms:W3CDTF">2020-09-30T11:00:09Z</dcterms:created>
  <dcterms:modified xsi:type="dcterms:W3CDTF">2024-02-28T09:3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